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tags/tag121.xml" ContentType="application/vnd.openxmlformats-officedocument.presentationml.tags+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tags/tag122.xml" ContentType="application/vnd.openxmlformats-officedocument.presentationml.tags+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tags/tag123.xml" ContentType="application/vnd.openxmlformats-officedocument.presentationml.tags+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124.xml" ContentType="application/vnd.openxmlformats-officedocument.presentationml.tags+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tags/tag125.xml" ContentType="application/vnd.openxmlformats-officedocument.presentationml.tags+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tags/tag126.xml" ContentType="application/vnd.openxmlformats-officedocument.presentationml.tags+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tags/tag127.xml" ContentType="application/vnd.openxmlformats-officedocument.presentationml.tags+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tags/tag128.xml" ContentType="application/vnd.openxmlformats-officedocument.presentationml.tags+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tags/tag129.xml" ContentType="application/vnd.openxmlformats-officedocument.presentationml.tags+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tags/tag130.xml" ContentType="application/vnd.openxmlformats-officedocument.presentationml.tags+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tags/tag131.xml" ContentType="application/vnd.openxmlformats-officedocument.presentationml.tags+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132.xml" ContentType="application/vnd.openxmlformats-officedocument.presentationml.tags+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tags/tag133.xml" ContentType="application/vnd.openxmlformats-officedocument.presentationml.tags+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tags/tag134.xml" ContentType="application/vnd.openxmlformats-officedocument.presentationml.tags+xml"/>
  <Override PartName="/ppt/charts/chart319.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tags/tag135.xml" ContentType="application/vnd.openxmlformats-officedocument.presentationml.tags+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tags/tag136.xml" ContentType="application/vnd.openxmlformats-officedocument.presentationml.tags+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tags/tag137.xml" ContentType="application/vnd.openxmlformats-officedocument.presentationml.tags+xml"/>
  <Override PartName="/ppt/charts/chart328.xml" ContentType="application/vnd.openxmlformats-officedocument.drawingml.chart+xml"/>
  <Override PartName="/ppt/charts/chart329.xml" ContentType="application/vnd.openxmlformats-officedocument.drawingml.chart+xml"/>
  <Override PartName="/ppt/charts/chart330.xml" ContentType="application/vnd.openxmlformats-officedocument.drawingml.chart+xml"/>
  <Override PartName="/ppt/tags/tag138.xml" ContentType="application/vnd.openxmlformats-officedocument.presentationml.tags+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tags/tag139.xml" ContentType="application/vnd.openxmlformats-officedocument.presentationml.tags+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tags/tag140.xml" ContentType="application/vnd.openxmlformats-officedocument.presentationml.tags+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tags/tag141.xml" ContentType="application/vnd.openxmlformats-officedocument.presentationml.tags+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tags/tag142.xml" ContentType="application/vnd.openxmlformats-officedocument.presentationml.tags+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tags/tag143.xml" ContentType="application/vnd.openxmlformats-officedocument.presentationml.tags+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tags/tag144.xml" ContentType="application/vnd.openxmlformats-officedocument.presentationml.tags+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tags/tag145.xml" ContentType="application/vnd.openxmlformats-officedocument.presentationml.tags+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tags/tag146.xml" ContentType="application/vnd.openxmlformats-officedocument.presentationml.tags+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tags/tag147.xml" ContentType="application/vnd.openxmlformats-officedocument.presentationml.tags+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tags/tag148.xml" ContentType="application/vnd.openxmlformats-officedocument.presentationml.tags+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tags/tag149.xml" ContentType="application/vnd.openxmlformats-officedocument.presentationml.tags+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tags/tag150.xml" ContentType="application/vnd.openxmlformats-officedocument.presentationml.tags+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tags/tag151.xml" ContentType="application/vnd.openxmlformats-officedocument.presentationml.tags+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tags/tag152.xml" ContentType="application/vnd.openxmlformats-officedocument.presentationml.tags+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tags/tag153.xml" ContentType="application/vnd.openxmlformats-officedocument.presentationml.tags+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tags/tag154.xml" ContentType="application/vnd.openxmlformats-officedocument.presentationml.tags+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tags/tag155.xml" ContentType="application/vnd.openxmlformats-officedocument.presentationml.tags+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tags/tag156.xml" ContentType="application/vnd.openxmlformats-officedocument.presentationml.tags+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tags/tag157.xml" ContentType="application/vnd.openxmlformats-officedocument.presentationml.tags+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tags/tag158.xml" ContentType="application/vnd.openxmlformats-officedocument.presentationml.tags+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tags/tag159.xml" ContentType="application/vnd.openxmlformats-officedocument.presentationml.tags+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tags/tag160.xml" ContentType="application/vnd.openxmlformats-officedocument.presentationml.tags+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tags/tag161.xml" ContentType="application/vnd.openxmlformats-officedocument.presentationml.tags+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tags/tag162.xml" ContentType="application/vnd.openxmlformats-officedocument.presentationml.tags+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tags/tag163.xml" ContentType="application/vnd.openxmlformats-officedocument.presentationml.tags+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tags/tag164.xml" ContentType="application/vnd.openxmlformats-officedocument.presentationml.tags+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tags/tag165.xml" ContentType="application/vnd.openxmlformats-officedocument.presentationml.tags+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tags/tag166.xml" ContentType="application/vnd.openxmlformats-officedocument.presentationml.tags+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tags/tag167.xml" ContentType="application/vnd.openxmlformats-officedocument.presentationml.tags+xml"/>
  <Override PartName="/ppt/charts/chart418.xml" ContentType="application/vnd.openxmlformats-officedocument.drawingml.chart+xml"/>
  <Override PartName="/ppt/charts/chart419.xml" ContentType="application/vnd.openxmlformats-officedocument.drawingml.chart+xml"/>
  <Override PartName="/ppt/charts/chart420.xml" ContentType="application/vnd.openxmlformats-officedocument.drawingml.chart+xml"/>
  <Override PartName="/ppt/tags/tag168.xml" ContentType="application/vnd.openxmlformats-officedocument.presentationml.tags+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tags/tag169.xml" ContentType="application/vnd.openxmlformats-officedocument.presentationml.tags+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tags/tag170.xml" ContentType="application/vnd.openxmlformats-officedocument.presentationml.tags+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tags/tag171.xml" ContentType="application/vnd.openxmlformats-officedocument.presentationml.tags+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tags/tag172.xml" ContentType="application/vnd.openxmlformats-officedocument.presentationml.tags+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tags/tag173.xml" ContentType="application/vnd.openxmlformats-officedocument.presentationml.tags+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tags/tag174.xml" ContentType="application/vnd.openxmlformats-officedocument.presentationml.tags+xml"/>
  <Override PartName="/ppt/charts/chart439.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tags/tag175.xml" ContentType="application/vnd.openxmlformats-officedocument.presentationml.tags+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tags/tag176.xml" ContentType="application/vnd.openxmlformats-officedocument.presentationml.tags+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tags/tag177.xml" ContentType="application/vnd.openxmlformats-officedocument.presentationml.tags+xml"/>
  <Override PartName="/ppt/charts/chart448.xml" ContentType="application/vnd.openxmlformats-officedocument.drawingml.chart+xml"/>
  <Override PartName="/ppt/charts/chart449.xml" ContentType="application/vnd.openxmlformats-officedocument.drawingml.chart+xml"/>
  <Override PartName="/ppt/charts/chart450.xml" ContentType="application/vnd.openxmlformats-officedocument.drawingml.chart+xml"/>
  <Override PartName="/ppt/tags/tag178.xml" ContentType="application/vnd.openxmlformats-officedocument.presentationml.tags+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tags/tag179.xml" ContentType="application/vnd.openxmlformats-officedocument.presentationml.tags+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tags/tag180.xml" ContentType="application/vnd.openxmlformats-officedocument.presentationml.tags+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tags/tag181.xml" ContentType="application/vnd.openxmlformats-officedocument.presentationml.tags+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tags/tag182.xml" ContentType="application/vnd.openxmlformats-officedocument.presentationml.tags+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tags/tag183.xml" ContentType="application/vnd.openxmlformats-officedocument.presentationml.tags+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tags/tag184.xml" ContentType="application/vnd.openxmlformats-officedocument.presentationml.tags+xml"/>
  <Override PartName="/ppt/charts/chart469.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tags/tag185.xml" ContentType="application/vnd.openxmlformats-officedocument.presentationml.tags+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tags/tag186.xml" ContentType="application/vnd.openxmlformats-officedocument.presentationml.tags+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tags/tag187.xml" ContentType="application/vnd.openxmlformats-officedocument.presentationml.tags+xml"/>
  <Override PartName="/ppt/charts/chart478.xml" ContentType="application/vnd.openxmlformats-officedocument.drawingml.chart+xml"/>
  <Override PartName="/ppt/charts/chart479.xml" ContentType="application/vnd.openxmlformats-officedocument.drawingml.chart+xml"/>
  <Override PartName="/ppt/charts/chart480.xml" ContentType="application/vnd.openxmlformats-officedocument.drawingml.chart+xml"/>
  <Override PartName="/ppt/tags/tag188.xml" ContentType="application/vnd.openxmlformats-officedocument.presentationml.tags+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tags/tag189.xml" ContentType="application/vnd.openxmlformats-officedocument.presentationml.tags+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tags/tag190.xml" ContentType="application/vnd.openxmlformats-officedocument.presentationml.tags+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tags/tag191.xml" ContentType="application/vnd.openxmlformats-officedocument.presentationml.tags+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tags/tag192.xml" ContentType="application/vnd.openxmlformats-officedocument.presentationml.tags+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tags/tag193.xml" ContentType="application/vnd.openxmlformats-officedocument.presentationml.tags+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tags/tag194.xml" ContentType="application/vnd.openxmlformats-officedocument.presentationml.tags+xml"/>
  <Override PartName="/ppt/charts/chart499.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tags/tag195.xml" ContentType="application/vnd.openxmlformats-officedocument.presentationml.tags+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tags/tag196.xml" ContentType="application/vnd.openxmlformats-officedocument.presentationml.tags+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tags/tag197.xml" ContentType="application/vnd.openxmlformats-officedocument.presentationml.tags+xml"/>
  <Override PartName="/ppt/charts/chart508.xml" ContentType="application/vnd.openxmlformats-officedocument.drawingml.chart+xml"/>
  <Override PartName="/ppt/charts/chart509.xml" ContentType="application/vnd.openxmlformats-officedocument.drawingml.chart+xml"/>
  <Override PartName="/ppt/charts/chart510.xml" ContentType="application/vnd.openxmlformats-officedocument.drawingml.chart+xml"/>
  <Override PartName="/ppt/tags/tag198.xml" ContentType="application/vnd.openxmlformats-officedocument.presentationml.tags+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tags/tag199.xml" ContentType="application/vnd.openxmlformats-officedocument.presentationml.tags+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tags/tag200.xml" ContentType="application/vnd.openxmlformats-officedocument.presentationml.tags+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tags/tag201.xml" ContentType="application/vnd.openxmlformats-officedocument.presentationml.tags+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tags/tag202.xml" ContentType="application/vnd.openxmlformats-officedocument.presentationml.tags+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tags/tag203.xml" ContentType="application/vnd.openxmlformats-officedocument.presentationml.tags+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tags/tag204.xml" ContentType="application/vnd.openxmlformats-officedocument.presentationml.tags+xml"/>
  <Override PartName="/ppt/charts/chart529.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tags/tag205.xml" ContentType="application/vnd.openxmlformats-officedocument.presentationml.tags+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tags/tag206.xml" ContentType="application/vnd.openxmlformats-officedocument.presentationml.tags+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tags/tag207.xml" ContentType="application/vnd.openxmlformats-officedocument.presentationml.tags+xml"/>
  <Override PartName="/ppt/charts/chart538.xml" ContentType="application/vnd.openxmlformats-officedocument.drawingml.chart+xml"/>
  <Override PartName="/ppt/charts/chart539.xml" ContentType="application/vnd.openxmlformats-officedocument.drawingml.chart+xml"/>
  <Override PartName="/ppt/charts/chart540.xml" ContentType="application/vnd.openxmlformats-officedocument.drawingml.chart+xml"/>
  <Override PartName="/ppt/tags/tag208.xml" ContentType="application/vnd.openxmlformats-officedocument.presentationml.tags+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tags/tag209.xml" ContentType="application/vnd.openxmlformats-officedocument.presentationml.tags+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tags/tag210.xml" ContentType="application/vnd.openxmlformats-officedocument.presentationml.tags+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tags/tag211.xml" ContentType="application/vnd.openxmlformats-officedocument.presentationml.tags+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tags/tag212.xml" ContentType="application/vnd.openxmlformats-officedocument.presentationml.tags+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tags/tag213.xml" ContentType="application/vnd.openxmlformats-officedocument.presentationml.tags+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tags/tag214.xml" ContentType="application/vnd.openxmlformats-officedocument.presentationml.tags+xml"/>
  <Override PartName="/ppt/charts/chart559.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tags/tag215.xml" ContentType="application/vnd.openxmlformats-officedocument.presentationml.tags+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tags/tag216.xml" ContentType="application/vnd.openxmlformats-officedocument.presentationml.tags+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tags/tag217.xml" ContentType="application/vnd.openxmlformats-officedocument.presentationml.tags+xml"/>
  <Override PartName="/ppt/charts/chart568.xml" ContentType="application/vnd.openxmlformats-officedocument.drawingml.chart+xml"/>
  <Override PartName="/ppt/charts/chart569.xml" ContentType="application/vnd.openxmlformats-officedocument.drawingml.chart+xml"/>
  <Override PartName="/ppt/charts/chart570.xml" ContentType="application/vnd.openxmlformats-officedocument.drawingml.chart+xml"/>
  <Override PartName="/ppt/tags/tag218.xml" ContentType="application/vnd.openxmlformats-officedocument.presentationml.tags+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tags/tag219.xml" ContentType="application/vnd.openxmlformats-officedocument.presentationml.tags+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tags/tag220.xml" ContentType="application/vnd.openxmlformats-officedocument.presentationml.tags+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tags/tag221.xml" ContentType="application/vnd.openxmlformats-officedocument.presentationml.tags+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tags/tag222.xml" ContentType="application/vnd.openxmlformats-officedocument.presentationml.tags+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tags/tag223.xml" ContentType="application/vnd.openxmlformats-officedocument.presentationml.tags+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tags/tag224.xml" ContentType="application/vnd.openxmlformats-officedocument.presentationml.tags+xml"/>
  <Override PartName="/ppt/charts/chart58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tags/tag225.xml" ContentType="application/vnd.openxmlformats-officedocument.presentationml.tags+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tags/tag226.xml" ContentType="application/vnd.openxmlformats-officedocument.presentationml.tags+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tags/tag227.xml" ContentType="application/vnd.openxmlformats-officedocument.presentationml.tags+xml"/>
  <Override PartName="/ppt/charts/chart598.xml" ContentType="application/vnd.openxmlformats-officedocument.drawingml.chart+xml"/>
  <Override PartName="/ppt/charts/chart599.xml" ContentType="application/vnd.openxmlformats-officedocument.drawingml.chart+xml"/>
  <Override PartName="/ppt/charts/chart600.xml" ContentType="application/vnd.openxmlformats-officedocument.drawingml.chart+xml"/>
  <Override PartName="/ppt/tags/tag228.xml" ContentType="application/vnd.openxmlformats-officedocument.presentationml.tags+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tags/tag229.xml" ContentType="application/vnd.openxmlformats-officedocument.presentationml.tags+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tags/tag230.xml" ContentType="application/vnd.openxmlformats-officedocument.presentationml.tags+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tags/tag231.xml" ContentType="application/vnd.openxmlformats-officedocument.presentationml.tags+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tags/tag232.xml" ContentType="application/vnd.openxmlformats-officedocument.presentationml.tags+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tags/tag233.xml" ContentType="application/vnd.openxmlformats-officedocument.presentationml.tags+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tags/tag234.xml" ContentType="application/vnd.openxmlformats-officedocument.presentationml.tags+xml"/>
  <Override PartName="/ppt/charts/chart619.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tags/tag235.xml" ContentType="application/vnd.openxmlformats-officedocument.presentationml.tags+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tags/tag236.xml" ContentType="application/vnd.openxmlformats-officedocument.presentationml.tags+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tags/tag237.xml" ContentType="application/vnd.openxmlformats-officedocument.presentationml.tags+xml"/>
  <Override PartName="/ppt/charts/chart628.xml" ContentType="application/vnd.openxmlformats-officedocument.drawingml.chart+xml"/>
  <Override PartName="/ppt/charts/chart629.xml" ContentType="application/vnd.openxmlformats-officedocument.drawingml.chart+xml"/>
  <Override PartName="/ppt/charts/chart630.xml" ContentType="application/vnd.openxmlformats-officedocument.drawingml.chart+xml"/>
  <Override PartName="/ppt/tags/tag238.xml" ContentType="application/vnd.openxmlformats-officedocument.presentationml.tags+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tags/tag239.xml" ContentType="application/vnd.openxmlformats-officedocument.presentationml.tags+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tags/tag240.xml" ContentType="application/vnd.openxmlformats-officedocument.presentationml.tags+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tags/tag241.xml" ContentType="application/vnd.openxmlformats-officedocument.presentationml.tags+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tags/tag242.xml" ContentType="application/vnd.openxmlformats-officedocument.presentationml.tags+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tags/tag243.xml" ContentType="application/vnd.openxmlformats-officedocument.presentationml.tags+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tags/tag244.xml" ContentType="application/vnd.openxmlformats-officedocument.presentationml.tags+xml"/>
  <Override PartName="/ppt/charts/chart649.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tags/tag245.xml" ContentType="application/vnd.openxmlformats-officedocument.presentationml.tags+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tags/tag246.xml" ContentType="application/vnd.openxmlformats-officedocument.presentationml.tags+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tags/tag247.xml" ContentType="application/vnd.openxmlformats-officedocument.presentationml.tags+xml"/>
  <Override PartName="/ppt/charts/chart658.xml" ContentType="application/vnd.openxmlformats-officedocument.drawingml.chart+xml"/>
  <Override PartName="/ppt/charts/chart659.xml" ContentType="application/vnd.openxmlformats-officedocument.drawingml.chart+xml"/>
  <Override PartName="/ppt/charts/chart660.xml" ContentType="application/vnd.openxmlformats-officedocument.drawingml.chart+xml"/>
  <Override PartName="/ppt/tags/tag248.xml" ContentType="application/vnd.openxmlformats-officedocument.presentationml.tags+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tags/tag249.xml" ContentType="application/vnd.openxmlformats-officedocument.presentationml.tags+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tags/tag250.xml" ContentType="application/vnd.openxmlformats-officedocument.presentationml.tags+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tags/tag251.xml" ContentType="application/vnd.openxmlformats-officedocument.presentationml.tags+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tags/tag252.xml" ContentType="application/vnd.openxmlformats-officedocument.presentationml.tags+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tags/tag253.xml" ContentType="application/vnd.openxmlformats-officedocument.presentationml.tags+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tags/tag254.xml" ContentType="application/vnd.openxmlformats-officedocument.presentationml.tags+xml"/>
  <Override PartName="/ppt/charts/chart679.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tags/tag255.xml" ContentType="application/vnd.openxmlformats-officedocument.presentationml.tags+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tags/tag256.xml" ContentType="application/vnd.openxmlformats-officedocument.presentationml.tags+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tags/tag257.xml" ContentType="application/vnd.openxmlformats-officedocument.presentationml.tags+xml"/>
  <Override PartName="/ppt/charts/chart688.xml" ContentType="application/vnd.openxmlformats-officedocument.drawingml.chart+xml"/>
  <Override PartName="/ppt/charts/chart689.xml" ContentType="application/vnd.openxmlformats-officedocument.drawingml.chart+xml"/>
  <Override PartName="/ppt/charts/chart690.xml" ContentType="application/vnd.openxmlformats-officedocument.drawingml.chart+xml"/>
  <Override PartName="/ppt/tags/tag258.xml" ContentType="application/vnd.openxmlformats-officedocument.presentationml.tags+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tags/tag259.xml" ContentType="application/vnd.openxmlformats-officedocument.presentationml.tags+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tags/tag260.xml" ContentType="application/vnd.openxmlformats-officedocument.presentationml.tags+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tags/tag261.xml" ContentType="application/vnd.openxmlformats-officedocument.presentationml.tags+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tags/tag262.xml" ContentType="application/vnd.openxmlformats-officedocument.presentationml.tags+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tags/tag263.xml" ContentType="application/vnd.openxmlformats-officedocument.presentationml.tags+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tags/tag264.xml" ContentType="application/vnd.openxmlformats-officedocument.presentationml.tags+xml"/>
  <Override PartName="/ppt/charts/chart709.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tags/tag265.xml" ContentType="application/vnd.openxmlformats-officedocument.presentationml.tags+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tags/tag266.xml" ContentType="application/vnd.openxmlformats-officedocument.presentationml.tags+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tags/tag267.xml" ContentType="application/vnd.openxmlformats-officedocument.presentationml.tags+xml"/>
  <Override PartName="/ppt/charts/chart718.xml" ContentType="application/vnd.openxmlformats-officedocument.drawingml.chart+xml"/>
  <Override PartName="/ppt/charts/chart719.xml" ContentType="application/vnd.openxmlformats-officedocument.drawingml.chart+xml"/>
  <Override PartName="/ppt/charts/chart720.xml" ContentType="application/vnd.openxmlformats-officedocument.drawingml.chart+xml"/>
  <Override PartName="/ppt/tags/tag268.xml" ContentType="application/vnd.openxmlformats-officedocument.presentationml.tags+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tags/tag269.xml" ContentType="application/vnd.openxmlformats-officedocument.presentationml.tags+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tags/tag270.xml" ContentType="application/vnd.openxmlformats-officedocument.presentationml.tags+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tags/tag271.xml" ContentType="application/vnd.openxmlformats-officedocument.presentationml.tags+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tags/tag272.xml" ContentType="application/vnd.openxmlformats-officedocument.presentationml.tags+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tags/tag273.xml" ContentType="application/vnd.openxmlformats-officedocument.presentationml.tags+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tags/tag274.xml" ContentType="application/vnd.openxmlformats-officedocument.presentationml.tags+xml"/>
  <Override PartName="/ppt/charts/chart739.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tags/tag275.xml" ContentType="application/vnd.openxmlformats-officedocument.presentationml.tags+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tags/tag276.xml" ContentType="application/vnd.openxmlformats-officedocument.presentationml.tags+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tags/tag277.xml" ContentType="application/vnd.openxmlformats-officedocument.presentationml.tags+xml"/>
  <Override PartName="/ppt/charts/chart748.xml" ContentType="application/vnd.openxmlformats-officedocument.drawingml.chart+xml"/>
  <Override PartName="/ppt/charts/chart749.xml" ContentType="application/vnd.openxmlformats-officedocument.drawingml.chart+xml"/>
  <Override PartName="/ppt/charts/chart750.xml" ContentType="application/vnd.openxmlformats-officedocument.drawingml.chart+xml"/>
  <Override PartName="/ppt/tags/tag278.xml" ContentType="application/vnd.openxmlformats-officedocument.presentationml.tags+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tags/tag279.xml" ContentType="application/vnd.openxmlformats-officedocument.presentationml.tags+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tags/tag280.xml" ContentType="application/vnd.openxmlformats-officedocument.presentationml.tags+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tags/tag281.xml" ContentType="application/vnd.openxmlformats-officedocument.presentationml.tags+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tags/tag282.xml" ContentType="application/vnd.openxmlformats-officedocument.presentationml.tags+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tags/tag283.xml" ContentType="application/vnd.openxmlformats-officedocument.presentationml.tags+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tags/tag284.xml" ContentType="application/vnd.openxmlformats-officedocument.presentationml.tags+xml"/>
  <Override PartName="/ppt/charts/chart769.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tags/tag285.xml" ContentType="application/vnd.openxmlformats-officedocument.presentationml.tags+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tags/tag286.xml" ContentType="application/vnd.openxmlformats-officedocument.presentationml.tags+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tags/tag287.xml" ContentType="application/vnd.openxmlformats-officedocument.presentationml.tags+xml"/>
  <Override PartName="/ppt/charts/chart778.xml" ContentType="application/vnd.openxmlformats-officedocument.drawingml.chart+xml"/>
  <Override PartName="/ppt/charts/chart779.xml" ContentType="application/vnd.openxmlformats-officedocument.drawingml.chart+xml"/>
  <Override PartName="/ppt/charts/chart780.xml" ContentType="application/vnd.openxmlformats-officedocument.drawingml.chart+xml"/>
  <Override PartName="/ppt/tags/tag288.xml" ContentType="application/vnd.openxmlformats-officedocument.presentationml.tags+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tags/tag289.xml" ContentType="application/vnd.openxmlformats-officedocument.presentationml.tags+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tags/tag290.xml" ContentType="application/vnd.openxmlformats-officedocument.presentationml.tags+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tags/tag291.xml" ContentType="application/vnd.openxmlformats-officedocument.presentationml.tags+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tags/tag292.xml" ContentType="application/vnd.openxmlformats-officedocument.presentationml.tags+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tags/tag293.xml" ContentType="application/vnd.openxmlformats-officedocument.presentationml.tags+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tags/tag294.xml" ContentType="application/vnd.openxmlformats-officedocument.presentationml.tags+xml"/>
  <Override PartName="/ppt/charts/chart799.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tags/tag295.xml" ContentType="application/vnd.openxmlformats-officedocument.presentationml.tags+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tags/tag296.xml" ContentType="application/vnd.openxmlformats-officedocument.presentationml.tags+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27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 id="2147475272" r:id="rId104"/>
    <p:sldId id="2147475273" r:id="rId105"/>
    <p:sldId id="2147475274" r:id="rId106"/>
    <p:sldId id="2147475275" r:id="rId107"/>
    <p:sldId id="2147475276" r:id="rId108"/>
    <p:sldId id="2147475277" r:id="rId109"/>
    <p:sldId id="2147475278" r:id="rId110"/>
    <p:sldId id="2147475279" r:id="rId111"/>
    <p:sldId id="2147475280" r:id="rId112"/>
    <p:sldId id="2147475281" r:id="rId113"/>
    <p:sldId id="2147475282" r:id="rId114"/>
    <p:sldId id="2147475283" r:id="rId115"/>
    <p:sldId id="2147475284" r:id="rId116"/>
    <p:sldId id="2147475285" r:id="rId117"/>
    <p:sldId id="2147475286" r:id="rId118"/>
    <p:sldId id="2147475287" r:id="rId119"/>
    <p:sldId id="2147475288" r:id="rId120"/>
    <p:sldId id="2147475289" r:id="rId121"/>
    <p:sldId id="2147475290" r:id="rId122"/>
    <p:sldId id="2147475291" r:id="rId123"/>
    <p:sldId id="2147475292" r:id="rId124"/>
    <p:sldId id="2147475293" r:id="rId125"/>
    <p:sldId id="2147475294" r:id="rId126"/>
    <p:sldId id="2147475295" r:id="rId127"/>
    <p:sldId id="2147475296" r:id="rId128"/>
    <p:sldId id="2147475297" r:id="rId129"/>
    <p:sldId id="2147475298" r:id="rId130"/>
    <p:sldId id="2147475299" r:id="rId131"/>
    <p:sldId id="2147475300" r:id="rId132"/>
    <p:sldId id="2147475301" r:id="rId133"/>
    <p:sldId id="2147475302" r:id="rId134"/>
    <p:sldId id="2147475303" r:id="rId135"/>
    <p:sldId id="2147475304" r:id="rId136"/>
    <p:sldId id="2147475305" r:id="rId137"/>
    <p:sldId id="2147475306" r:id="rId138"/>
    <p:sldId id="2147475307" r:id="rId139"/>
    <p:sldId id="2147475308" r:id="rId140"/>
    <p:sldId id="2147475309" r:id="rId141"/>
    <p:sldId id="2147475310" r:id="rId142"/>
    <p:sldId id="2147475311" r:id="rId143"/>
    <p:sldId id="2147475312" r:id="rId144"/>
    <p:sldId id="2147475313" r:id="rId145"/>
    <p:sldId id="2147475314" r:id="rId146"/>
    <p:sldId id="2147475315" r:id="rId147"/>
    <p:sldId id="2147475316" r:id="rId148"/>
    <p:sldId id="2147475317" r:id="rId149"/>
    <p:sldId id="2147475318" r:id="rId150"/>
    <p:sldId id="2147475319" r:id="rId151"/>
    <p:sldId id="2147475320" r:id="rId152"/>
    <p:sldId id="2147475321" r:id="rId153"/>
    <p:sldId id="2147475322" r:id="rId154"/>
    <p:sldId id="2147475323" r:id="rId155"/>
    <p:sldId id="2147475324" r:id="rId156"/>
    <p:sldId id="2147475325" r:id="rId157"/>
    <p:sldId id="2147475326" r:id="rId158"/>
    <p:sldId id="2147475327" r:id="rId159"/>
    <p:sldId id="2147475328" r:id="rId160"/>
    <p:sldId id="2147475329" r:id="rId161"/>
    <p:sldId id="2147475330" r:id="rId162"/>
    <p:sldId id="2147475331" r:id="rId163"/>
    <p:sldId id="2147475332" r:id="rId164"/>
    <p:sldId id="2147475333" r:id="rId165"/>
    <p:sldId id="2147475334" r:id="rId166"/>
    <p:sldId id="2147475335" r:id="rId167"/>
    <p:sldId id="2147475336" r:id="rId168"/>
    <p:sldId id="2147475337" r:id="rId169"/>
    <p:sldId id="2147475338" r:id="rId170"/>
    <p:sldId id="2147475339" r:id="rId171"/>
    <p:sldId id="2147475340" r:id="rId172"/>
    <p:sldId id="2147475341" r:id="rId173"/>
    <p:sldId id="2147475342" r:id="rId174"/>
    <p:sldId id="2147475343" r:id="rId175"/>
    <p:sldId id="2147475344" r:id="rId176"/>
    <p:sldId id="2147475345" r:id="rId177"/>
    <p:sldId id="2147475346" r:id="rId178"/>
    <p:sldId id="2147475347" r:id="rId179"/>
    <p:sldId id="2147475348" r:id="rId180"/>
    <p:sldId id="2147475349" r:id="rId181"/>
    <p:sldId id="2147475350" r:id="rId182"/>
    <p:sldId id="2147475351" r:id="rId183"/>
    <p:sldId id="2147475352" r:id="rId184"/>
    <p:sldId id="2147475353" r:id="rId185"/>
    <p:sldId id="2147475354" r:id="rId186"/>
    <p:sldId id="2147475355" r:id="rId187"/>
    <p:sldId id="2147475356" r:id="rId188"/>
    <p:sldId id="2147475357" r:id="rId189"/>
    <p:sldId id="2147475358" r:id="rId190"/>
    <p:sldId id="2147475359" r:id="rId191"/>
    <p:sldId id="2147475360" r:id="rId192"/>
    <p:sldId id="2147475361" r:id="rId193"/>
    <p:sldId id="2147475362" r:id="rId194"/>
    <p:sldId id="2147475363" r:id="rId195"/>
    <p:sldId id="2147475364" r:id="rId196"/>
    <p:sldId id="2147475365" r:id="rId197"/>
    <p:sldId id="2147475366" r:id="rId198"/>
    <p:sldId id="2147475367" r:id="rId199"/>
    <p:sldId id="2147475368" r:id="rId200"/>
    <p:sldId id="2147475369" r:id="rId201"/>
    <p:sldId id="2147475370" r:id="rId202"/>
    <p:sldId id="2147475371" r:id="rId203"/>
    <p:sldId id="2147475372" r:id="rId204"/>
    <p:sldId id="2147475373" r:id="rId205"/>
    <p:sldId id="2147475374" r:id="rId206"/>
    <p:sldId id="2147475375" r:id="rId207"/>
    <p:sldId id="2147475376" r:id="rId208"/>
    <p:sldId id="2147475377" r:id="rId209"/>
    <p:sldId id="2147475378" r:id="rId210"/>
    <p:sldId id="2147475379" r:id="rId211"/>
    <p:sldId id="2147475380" r:id="rId212"/>
    <p:sldId id="2147475381" r:id="rId213"/>
    <p:sldId id="2147475382" r:id="rId214"/>
    <p:sldId id="2147475383" r:id="rId215"/>
    <p:sldId id="2147475384" r:id="rId216"/>
    <p:sldId id="2147475385" r:id="rId217"/>
    <p:sldId id="2147475386" r:id="rId218"/>
    <p:sldId id="2147475387" r:id="rId219"/>
    <p:sldId id="2147475388" r:id="rId220"/>
    <p:sldId id="2147475389" r:id="rId221"/>
    <p:sldId id="2147475390" r:id="rId222"/>
    <p:sldId id="2147475391" r:id="rId223"/>
    <p:sldId id="2147475392" r:id="rId224"/>
    <p:sldId id="2147475393" r:id="rId225"/>
    <p:sldId id="2147475394" r:id="rId226"/>
    <p:sldId id="2147475395" r:id="rId227"/>
    <p:sldId id="2147475396" r:id="rId228"/>
    <p:sldId id="2147475397" r:id="rId229"/>
    <p:sldId id="2147475398" r:id="rId230"/>
    <p:sldId id="2147475399" r:id="rId231"/>
    <p:sldId id="2147475400" r:id="rId232"/>
    <p:sldId id="2147475401" r:id="rId233"/>
    <p:sldId id="2147475402" r:id="rId234"/>
    <p:sldId id="2147475403" r:id="rId235"/>
    <p:sldId id="2147475404" r:id="rId236"/>
    <p:sldId id="2147475405" r:id="rId237"/>
    <p:sldId id="2147475406" r:id="rId238"/>
    <p:sldId id="2147475407" r:id="rId239"/>
    <p:sldId id="2147475408" r:id="rId240"/>
    <p:sldId id="2147475409" r:id="rId241"/>
    <p:sldId id="2147475410" r:id="rId242"/>
    <p:sldId id="2147475411" r:id="rId243"/>
    <p:sldId id="2147475412" r:id="rId244"/>
    <p:sldId id="2147475413" r:id="rId245"/>
    <p:sldId id="2147475414" r:id="rId246"/>
    <p:sldId id="2147475415" r:id="rId247"/>
    <p:sldId id="2147475416" r:id="rId248"/>
    <p:sldId id="2147475417" r:id="rId249"/>
    <p:sldId id="2147475418" r:id="rId250"/>
    <p:sldId id="2147475419" r:id="rId251"/>
    <p:sldId id="2147475420" r:id="rId252"/>
    <p:sldId id="2147475421" r:id="rId253"/>
    <p:sldId id="2147475422" r:id="rId254"/>
    <p:sldId id="2147475423" r:id="rId255"/>
    <p:sldId id="2147475424" r:id="rId256"/>
    <p:sldId id="2147475425" r:id="rId257"/>
    <p:sldId id="2147475426" r:id="rId258"/>
    <p:sldId id="2147475427" r:id="rId259"/>
    <p:sldId id="2147475428" r:id="rId260"/>
    <p:sldId id="2147475429" r:id="rId261"/>
    <p:sldId id="2147475430" r:id="rId262"/>
    <p:sldId id="2147475431" r:id="rId263"/>
    <p:sldId id="2147475432" r:id="rId264"/>
    <p:sldId id="2147475433" r:id="rId265"/>
    <p:sldId id="2147475434" r:id="rId266"/>
    <p:sldId id="2147475435" r:id="rId267"/>
    <p:sldId id="2147475436" r:id="rId268"/>
    <p:sldId id="2147475437" r:id="rId269"/>
    <p:sldId id="2147475438" r:id="rId270"/>
    <p:sldId id="2147475439" r:id="rId271"/>
    <p:sldId id="2147475440" r:id="rId272"/>
    <p:sldId id="2147475441" r:id="rId27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Base Price Bracket" id="{9206710B-76C4-4575-98F7-CAA129159C0D}">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68" d="100"/>
          <a:sy n="68" d="100"/>
        </p:scale>
        <p:origin x="62" y="581"/>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58" Type="http://schemas.openxmlformats.org/officeDocument/2006/relationships/slide" Target="slides/slide254.xml"/><Relationship Id="rId279" Type="http://schemas.microsoft.com/office/2015/10/relationships/revisionInfo" Target="revisionInfo.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248" Type="http://schemas.openxmlformats.org/officeDocument/2006/relationships/slide" Target="slides/slide244.xml"/><Relationship Id="rId269" Type="http://schemas.openxmlformats.org/officeDocument/2006/relationships/slide" Target="slides/slide265.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280" Type="http://schemas.microsoft.com/office/2018/10/relationships/authors" Target="authors.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71" Type="http://schemas.openxmlformats.org/officeDocument/2006/relationships/slide" Target="slides/slide267.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notesMaster" Target="notesMasters/notesMaster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presProps" Target="presProps.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viewProps" Target="viewProps.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theme" Target="theme/theme1.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tableStyles" Target="tableStyles.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2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2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2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2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2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0.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299.xml"/><Relationship Id="rId5" Type="http://schemas.openxmlformats.org/officeDocument/2006/relationships/chart" Target="../charts/chart298.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3.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302.xml"/><Relationship Id="rId5" Type="http://schemas.openxmlformats.org/officeDocument/2006/relationships/chart" Target="../charts/chart3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6.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305.xml"/><Relationship Id="rId5" Type="http://schemas.openxmlformats.org/officeDocument/2006/relationships/chart" Target="../charts/chart304.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9.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308.xml"/><Relationship Id="rId5" Type="http://schemas.openxmlformats.org/officeDocument/2006/relationships/chart" Target="../charts/chart307.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12.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311.xml"/><Relationship Id="rId5" Type="http://schemas.openxmlformats.org/officeDocument/2006/relationships/chart" Target="../charts/chart310.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15.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314.xml"/><Relationship Id="rId5" Type="http://schemas.openxmlformats.org/officeDocument/2006/relationships/chart" Target="../charts/chart313.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18.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317.xml"/><Relationship Id="rId5" Type="http://schemas.openxmlformats.org/officeDocument/2006/relationships/chart" Target="../charts/chart31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21.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320.xml"/><Relationship Id="rId5" Type="http://schemas.openxmlformats.org/officeDocument/2006/relationships/chart" Target="../charts/chart319.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24.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323.xml"/><Relationship Id="rId5" Type="http://schemas.openxmlformats.org/officeDocument/2006/relationships/chart" Target="../charts/chart322.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27.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326.xml"/><Relationship Id="rId5" Type="http://schemas.openxmlformats.org/officeDocument/2006/relationships/chart" Target="../charts/chart325.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0.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329.xml"/><Relationship Id="rId5" Type="http://schemas.openxmlformats.org/officeDocument/2006/relationships/chart" Target="../charts/chart328.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3.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332.xml"/><Relationship Id="rId5" Type="http://schemas.openxmlformats.org/officeDocument/2006/relationships/chart" Target="../charts/chart33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6.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335.xml"/><Relationship Id="rId5" Type="http://schemas.openxmlformats.org/officeDocument/2006/relationships/chart" Target="../charts/chart334.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9.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338.xml"/><Relationship Id="rId5" Type="http://schemas.openxmlformats.org/officeDocument/2006/relationships/chart" Target="../charts/chart337.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42.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341.xml"/><Relationship Id="rId5" Type="http://schemas.openxmlformats.org/officeDocument/2006/relationships/chart" Target="../charts/chart340.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45.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344.xml"/><Relationship Id="rId5" Type="http://schemas.openxmlformats.org/officeDocument/2006/relationships/chart" Target="../charts/chart343.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48.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347.xml"/><Relationship Id="rId5" Type="http://schemas.openxmlformats.org/officeDocument/2006/relationships/chart" Target="../charts/chart34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51.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350.xml"/><Relationship Id="rId5" Type="http://schemas.openxmlformats.org/officeDocument/2006/relationships/chart" Target="../charts/chart349.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54.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353.xml"/><Relationship Id="rId5" Type="http://schemas.openxmlformats.org/officeDocument/2006/relationships/chart" Target="../charts/chart352.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57.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356.xml"/><Relationship Id="rId5" Type="http://schemas.openxmlformats.org/officeDocument/2006/relationships/chart" Target="../charts/chart355.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0.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359.xml"/><Relationship Id="rId5" Type="http://schemas.openxmlformats.org/officeDocument/2006/relationships/chart" Target="../charts/chart358.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3.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362.xml"/><Relationship Id="rId5" Type="http://schemas.openxmlformats.org/officeDocument/2006/relationships/chart" Target="../charts/chart36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6.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365.xml"/><Relationship Id="rId5" Type="http://schemas.openxmlformats.org/officeDocument/2006/relationships/chart" Target="../charts/chart364.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9.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368.xml"/><Relationship Id="rId5" Type="http://schemas.openxmlformats.org/officeDocument/2006/relationships/chart" Target="../charts/chart367.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72.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371.xml"/><Relationship Id="rId5" Type="http://schemas.openxmlformats.org/officeDocument/2006/relationships/chart" Target="../charts/chart370.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75.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374.xml"/><Relationship Id="rId5" Type="http://schemas.openxmlformats.org/officeDocument/2006/relationships/chart" Target="../charts/chart373.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78.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377.xml"/><Relationship Id="rId5" Type="http://schemas.openxmlformats.org/officeDocument/2006/relationships/chart" Target="../charts/chart37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81.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380.xml"/><Relationship Id="rId5" Type="http://schemas.openxmlformats.org/officeDocument/2006/relationships/chart" Target="../charts/chart379.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84.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383.xml"/><Relationship Id="rId5" Type="http://schemas.openxmlformats.org/officeDocument/2006/relationships/chart" Target="../charts/chart382.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87.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386.xml"/><Relationship Id="rId5" Type="http://schemas.openxmlformats.org/officeDocument/2006/relationships/chart" Target="../charts/chart385.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0.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389.xml"/><Relationship Id="rId5" Type="http://schemas.openxmlformats.org/officeDocument/2006/relationships/chart" Target="../charts/chart388.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3.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392.xml"/><Relationship Id="rId5" Type="http://schemas.openxmlformats.org/officeDocument/2006/relationships/chart" Target="../charts/chart39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6.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395.xml"/><Relationship Id="rId5" Type="http://schemas.openxmlformats.org/officeDocument/2006/relationships/chart" Target="../charts/chart394.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9.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398.xml"/><Relationship Id="rId5" Type="http://schemas.openxmlformats.org/officeDocument/2006/relationships/chart" Target="../charts/chart397.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02.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401.xml"/><Relationship Id="rId5" Type="http://schemas.openxmlformats.org/officeDocument/2006/relationships/chart" Target="../charts/chart400.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05.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404.xml"/><Relationship Id="rId5" Type="http://schemas.openxmlformats.org/officeDocument/2006/relationships/chart" Target="../charts/chart403.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08.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407.xml"/><Relationship Id="rId5" Type="http://schemas.openxmlformats.org/officeDocument/2006/relationships/chart" Target="../charts/chart40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11.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chart" Target="../charts/chart410.xml"/><Relationship Id="rId5" Type="http://schemas.openxmlformats.org/officeDocument/2006/relationships/chart" Target="../charts/chart409.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14.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chart" Target="../charts/chart413.xml"/><Relationship Id="rId5" Type="http://schemas.openxmlformats.org/officeDocument/2006/relationships/chart" Target="../charts/chart412.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17.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chart" Target="../charts/chart416.xml"/><Relationship Id="rId5" Type="http://schemas.openxmlformats.org/officeDocument/2006/relationships/chart" Target="../charts/chart415.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0.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chart" Target="../charts/chart419.xml"/><Relationship Id="rId5" Type="http://schemas.openxmlformats.org/officeDocument/2006/relationships/chart" Target="../charts/chart418.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3.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chart" Target="../charts/chart422.xml"/><Relationship Id="rId5" Type="http://schemas.openxmlformats.org/officeDocument/2006/relationships/chart" Target="../charts/chart42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6.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chart" Target="../charts/chart425.xml"/><Relationship Id="rId5" Type="http://schemas.openxmlformats.org/officeDocument/2006/relationships/chart" Target="../charts/chart424.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9.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chart" Target="../charts/chart428.xml"/><Relationship Id="rId5" Type="http://schemas.openxmlformats.org/officeDocument/2006/relationships/chart" Target="../charts/chart427.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32.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chart" Target="../charts/chart431.xml"/><Relationship Id="rId5" Type="http://schemas.openxmlformats.org/officeDocument/2006/relationships/chart" Target="../charts/chart430.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35.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434.xml"/><Relationship Id="rId5" Type="http://schemas.openxmlformats.org/officeDocument/2006/relationships/chart" Target="../charts/chart433.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38.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437.xml"/><Relationship Id="rId5" Type="http://schemas.openxmlformats.org/officeDocument/2006/relationships/chart" Target="../charts/chart43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41.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440.xml"/><Relationship Id="rId5" Type="http://schemas.openxmlformats.org/officeDocument/2006/relationships/chart" Target="../charts/chart439.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44.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443.xml"/><Relationship Id="rId5" Type="http://schemas.openxmlformats.org/officeDocument/2006/relationships/chart" Target="../charts/chart442.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47.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446.xml"/><Relationship Id="rId5" Type="http://schemas.openxmlformats.org/officeDocument/2006/relationships/chart" Target="../charts/chart445.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0.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449.xml"/><Relationship Id="rId5" Type="http://schemas.openxmlformats.org/officeDocument/2006/relationships/chart" Target="../charts/chart448.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3.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452.xml"/><Relationship Id="rId5" Type="http://schemas.openxmlformats.org/officeDocument/2006/relationships/chart" Target="../charts/chart4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6.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455.xml"/><Relationship Id="rId5" Type="http://schemas.openxmlformats.org/officeDocument/2006/relationships/chart" Target="../charts/chart454.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9.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458.xml"/><Relationship Id="rId5" Type="http://schemas.openxmlformats.org/officeDocument/2006/relationships/chart" Target="../charts/chart457.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62.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461.xml"/><Relationship Id="rId5" Type="http://schemas.openxmlformats.org/officeDocument/2006/relationships/chart" Target="../charts/chart460.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65.xml"/><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chart" Target="../charts/chart464.xml"/><Relationship Id="rId5" Type="http://schemas.openxmlformats.org/officeDocument/2006/relationships/chart" Target="../charts/chart463.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68.xml"/><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chart" Target="../charts/chart467.xml"/><Relationship Id="rId5" Type="http://schemas.openxmlformats.org/officeDocument/2006/relationships/chart" Target="../charts/chart46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71.xml"/><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chart" Target="../charts/chart470.xml"/><Relationship Id="rId5" Type="http://schemas.openxmlformats.org/officeDocument/2006/relationships/chart" Target="../charts/chart469.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74.xml"/><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chart" Target="../charts/chart473.xml"/><Relationship Id="rId5" Type="http://schemas.openxmlformats.org/officeDocument/2006/relationships/chart" Target="../charts/chart472.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77.xml"/><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chart" Target="../charts/chart476.xml"/><Relationship Id="rId5" Type="http://schemas.openxmlformats.org/officeDocument/2006/relationships/chart" Target="../charts/chart47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0.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chart" Target="../charts/chart479.xml"/><Relationship Id="rId5" Type="http://schemas.openxmlformats.org/officeDocument/2006/relationships/chart" Target="../charts/chart478.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3.xml"/><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chart" Target="../charts/chart482.xml"/><Relationship Id="rId5" Type="http://schemas.openxmlformats.org/officeDocument/2006/relationships/chart" Target="../charts/chart48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6.xml"/><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chart" Target="../charts/chart485.xml"/><Relationship Id="rId5" Type="http://schemas.openxmlformats.org/officeDocument/2006/relationships/chart" Target="../charts/chart484.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9.xml"/><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chart" Target="../charts/chart488.xml"/><Relationship Id="rId5" Type="http://schemas.openxmlformats.org/officeDocument/2006/relationships/chart" Target="../charts/chart487.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92.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491.xml"/><Relationship Id="rId5" Type="http://schemas.openxmlformats.org/officeDocument/2006/relationships/chart" Target="../charts/chart490.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95.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494.xml"/><Relationship Id="rId5" Type="http://schemas.openxmlformats.org/officeDocument/2006/relationships/chart" Target="../charts/chart493.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98.xml"/><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chart" Target="../charts/chart497.xml"/><Relationship Id="rId5" Type="http://schemas.openxmlformats.org/officeDocument/2006/relationships/chart" Target="../charts/chart49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01.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500.xml"/><Relationship Id="rId5" Type="http://schemas.openxmlformats.org/officeDocument/2006/relationships/chart" Target="../charts/chart499.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04.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503.xml"/><Relationship Id="rId5" Type="http://schemas.openxmlformats.org/officeDocument/2006/relationships/chart" Target="../charts/chart502.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07.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506.xml"/><Relationship Id="rId5" Type="http://schemas.openxmlformats.org/officeDocument/2006/relationships/chart" Target="../charts/chart50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0.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509.xml"/><Relationship Id="rId5" Type="http://schemas.openxmlformats.org/officeDocument/2006/relationships/chart" Target="../charts/chart508.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3.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512.xml"/><Relationship Id="rId5" Type="http://schemas.openxmlformats.org/officeDocument/2006/relationships/chart" Target="../charts/chart51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6.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515.xml"/><Relationship Id="rId5" Type="http://schemas.openxmlformats.org/officeDocument/2006/relationships/chart" Target="../charts/chart514.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9.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518.xml"/><Relationship Id="rId5" Type="http://schemas.openxmlformats.org/officeDocument/2006/relationships/chart" Target="../charts/chart517.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22.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521.xml"/><Relationship Id="rId5" Type="http://schemas.openxmlformats.org/officeDocument/2006/relationships/chart" Target="../charts/chart520.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25.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524.xml"/><Relationship Id="rId5" Type="http://schemas.openxmlformats.org/officeDocument/2006/relationships/chart" Target="../charts/chart523.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28.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527.xml"/><Relationship Id="rId5" Type="http://schemas.openxmlformats.org/officeDocument/2006/relationships/chart" Target="../charts/chart52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31.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530.xml"/><Relationship Id="rId5" Type="http://schemas.openxmlformats.org/officeDocument/2006/relationships/chart" Target="../charts/chart529.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34.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533.xml"/><Relationship Id="rId5" Type="http://schemas.openxmlformats.org/officeDocument/2006/relationships/chart" Target="../charts/chart532.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37.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536.xml"/><Relationship Id="rId5" Type="http://schemas.openxmlformats.org/officeDocument/2006/relationships/chart" Target="../charts/chart535.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0.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539.xml"/><Relationship Id="rId5" Type="http://schemas.openxmlformats.org/officeDocument/2006/relationships/chart" Target="../charts/chart538.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3.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542.xml"/><Relationship Id="rId5" Type="http://schemas.openxmlformats.org/officeDocument/2006/relationships/chart" Target="../charts/chart54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6.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545.xml"/><Relationship Id="rId5" Type="http://schemas.openxmlformats.org/officeDocument/2006/relationships/chart" Target="../charts/chart544.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9.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548.xml"/><Relationship Id="rId5" Type="http://schemas.openxmlformats.org/officeDocument/2006/relationships/chart" Target="../charts/chart547.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52.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551.xml"/><Relationship Id="rId5" Type="http://schemas.openxmlformats.org/officeDocument/2006/relationships/chart" Target="../charts/chart550.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55.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554.xml"/><Relationship Id="rId5" Type="http://schemas.openxmlformats.org/officeDocument/2006/relationships/chart" Target="../charts/chart553.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58.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557.xml"/><Relationship Id="rId5" Type="http://schemas.openxmlformats.org/officeDocument/2006/relationships/chart" Target="../charts/chart55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61.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560.xml"/><Relationship Id="rId5" Type="http://schemas.openxmlformats.org/officeDocument/2006/relationships/chart" Target="../charts/chart559.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64.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563.xml"/><Relationship Id="rId5" Type="http://schemas.openxmlformats.org/officeDocument/2006/relationships/chart" Target="../charts/chart562.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67.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566.xml"/><Relationship Id="rId5" Type="http://schemas.openxmlformats.org/officeDocument/2006/relationships/chart" Target="../charts/chart565.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0.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569.xml"/><Relationship Id="rId5" Type="http://schemas.openxmlformats.org/officeDocument/2006/relationships/chart" Target="../charts/chart568.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3.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572.xml"/><Relationship Id="rId5" Type="http://schemas.openxmlformats.org/officeDocument/2006/relationships/chart" Target="../charts/chart57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6.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575.xml"/><Relationship Id="rId5" Type="http://schemas.openxmlformats.org/officeDocument/2006/relationships/chart" Target="../charts/chart574.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9.xml"/><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578.xml"/><Relationship Id="rId5" Type="http://schemas.openxmlformats.org/officeDocument/2006/relationships/chart" Target="../charts/chart577.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82.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581.xml"/><Relationship Id="rId5" Type="http://schemas.openxmlformats.org/officeDocument/2006/relationships/chart" Target="../charts/chart580.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85.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584.xml"/><Relationship Id="rId5" Type="http://schemas.openxmlformats.org/officeDocument/2006/relationships/chart" Target="../charts/chart583.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88.xml"/><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chart" Target="../charts/chart587.xml"/><Relationship Id="rId5" Type="http://schemas.openxmlformats.org/officeDocument/2006/relationships/chart" Target="../charts/chart58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91.xml"/><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chart" Target="../charts/chart590.xml"/><Relationship Id="rId5" Type="http://schemas.openxmlformats.org/officeDocument/2006/relationships/chart" Target="../charts/chart589.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94.xml"/><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chart" Target="../charts/chart593.xml"/><Relationship Id="rId5" Type="http://schemas.openxmlformats.org/officeDocument/2006/relationships/chart" Target="../charts/chart592.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97.xml"/><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chart" Target="../charts/chart596.xml"/><Relationship Id="rId5" Type="http://schemas.openxmlformats.org/officeDocument/2006/relationships/chart" Target="../charts/chart59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0.xml"/><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chart" Target="../charts/chart599.xml"/><Relationship Id="rId5" Type="http://schemas.openxmlformats.org/officeDocument/2006/relationships/chart" Target="../charts/chart598.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3.xml"/><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chart" Target="../charts/chart602.xml"/><Relationship Id="rId5" Type="http://schemas.openxmlformats.org/officeDocument/2006/relationships/chart" Target="../charts/chart6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6.xml"/><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chart" Target="../charts/chart605.xml"/><Relationship Id="rId5" Type="http://schemas.openxmlformats.org/officeDocument/2006/relationships/chart" Target="../charts/chart604.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9.xml"/><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chart" Target="../charts/chart608.xml"/><Relationship Id="rId5" Type="http://schemas.openxmlformats.org/officeDocument/2006/relationships/chart" Target="../charts/chart607.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12.xml"/><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chart" Target="../charts/chart611.xml"/><Relationship Id="rId5" Type="http://schemas.openxmlformats.org/officeDocument/2006/relationships/chart" Target="../charts/chart610.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15.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chart" Target="../charts/chart614.xml"/><Relationship Id="rId5" Type="http://schemas.openxmlformats.org/officeDocument/2006/relationships/chart" Target="../charts/chart613.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18.xml"/><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chart" Target="../charts/chart617.xml"/><Relationship Id="rId5" Type="http://schemas.openxmlformats.org/officeDocument/2006/relationships/chart" Target="../charts/chart61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21.xml"/><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chart" Target="../charts/chart620.xml"/><Relationship Id="rId5" Type="http://schemas.openxmlformats.org/officeDocument/2006/relationships/chart" Target="../charts/chart619.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24.xml"/><Relationship Id="rId2" Type="http://schemas.openxmlformats.org/officeDocument/2006/relationships/slideLayout" Target="../slideLayouts/slideLayout7.xml"/><Relationship Id="rId1" Type="http://schemas.openxmlformats.org/officeDocument/2006/relationships/tags" Target="../tags/tag235.xml"/><Relationship Id="rId6" Type="http://schemas.openxmlformats.org/officeDocument/2006/relationships/chart" Target="../charts/chart623.xml"/><Relationship Id="rId5" Type="http://schemas.openxmlformats.org/officeDocument/2006/relationships/chart" Target="../charts/chart622.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27.xml"/><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chart" Target="../charts/chart626.xml"/><Relationship Id="rId5" Type="http://schemas.openxmlformats.org/officeDocument/2006/relationships/chart" Target="../charts/chart625.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0.xml"/><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chart" Target="../charts/chart629.xml"/><Relationship Id="rId5" Type="http://schemas.openxmlformats.org/officeDocument/2006/relationships/chart" Target="../charts/chart628.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3.xml"/><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chart" Target="../charts/chart632.xml"/><Relationship Id="rId5" Type="http://schemas.openxmlformats.org/officeDocument/2006/relationships/chart" Target="../charts/chart63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6.xml"/><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chart" Target="../charts/chart635.xml"/><Relationship Id="rId5" Type="http://schemas.openxmlformats.org/officeDocument/2006/relationships/chart" Target="../charts/chart634.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9.xml"/><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chart" Target="../charts/chart638.xml"/><Relationship Id="rId5" Type="http://schemas.openxmlformats.org/officeDocument/2006/relationships/chart" Target="../charts/chart637.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42.xml"/><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chart" Target="../charts/chart641.xml"/><Relationship Id="rId5" Type="http://schemas.openxmlformats.org/officeDocument/2006/relationships/chart" Target="../charts/chart640.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45.xml"/><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chart" Target="../charts/chart644.xml"/><Relationship Id="rId5" Type="http://schemas.openxmlformats.org/officeDocument/2006/relationships/chart" Target="../charts/chart643.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48.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chart" Target="../charts/chart647.xml"/><Relationship Id="rId5" Type="http://schemas.openxmlformats.org/officeDocument/2006/relationships/chart" Target="../charts/chart64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51.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chart" Target="../charts/chart650.xml"/><Relationship Id="rId5" Type="http://schemas.openxmlformats.org/officeDocument/2006/relationships/chart" Target="../charts/chart649.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54.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chart" Target="../charts/chart653.xml"/><Relationship Id="rId5" Type="http://schemas.openxmlformats.org/officeDocument/2006/relationships/chart" Target="../charts/chart652.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57.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chart" Target="../charts/chart656.xml"/><Relationship Id="rId5" Type="http://schemas.openxmlformats.org/officeDocument/2006/relationships/chart" Target="../charts/chart655.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0.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chart" Target="../charts/chart659.xml"/><Relationship Id="rId5" Type="http://schemas.openxmlformats.org/officeDocument/2006/relationships/chart" Target="../charts/chart658.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3.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chart" Target="../charts/chart662.xml"/><Relationship Id="rId5" Type="http://schemas.openxmlformats.org/officeDocument/2006/relationships/chart" Target="../charts/chart66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6.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chart" Target="../charts/chart665.xml"/><Relationship Id="rId5" Type="http://schemas.openxmlformats.org/officeDocument/2006/relationships/chart" Target="../charts/chart664.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9.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chart" Target="../charts/chart668.xml"/><Relationship Id="rId5" Type="http://schemas.openxmlformats.org/officeDocument/2006/relationships/chart" Target="../charts/chart667.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72.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chart" Target="../charts/chart671.xml"/><Relationship Id="rId5" Type="http://schemas.openxmlformats.org/officeDocument/2006/relationships/chart" Target="../charts/chart670.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75.xml"/><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chart" Target="../charts/chart674.xml"/><Relationship Id="rId5" Type="http://schemas.openxmlformats.org/officeDocument/2006/relationships/chart" Target="../charts/chart673.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78.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chart" Target="../charts/chart677.xml"/><Relationship Id="rId5" Type="http://schemas.openxmlformats.org/officeDocument/2006/relationships/chart" Target="../charts/chart67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81.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chart" Target="../charts/chart680.xml"/><Relationship Id="rId5" Type="http://schemas.openxmlformats.org/officeDocument/2006/relationships/chart" Target="../charts/chart679.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84.xml"/><Relationship Id="rId2" Type="http://schemas.openxmlformats.org/officeDocument/2006/relationships/slideLayout" Target="../slideLayouts/slideLayout7.xml"/><Relationship Id="rId1" Type="http://schemas.openxmlformats.org/officeDocument/2006/relationships/tags" Target="../tags/tag255.xml"/><Relationship Id="rId6" Type="http://schemas.openxmlformats.org/officeDocument/2006/relationships/chart" Target="../charts/chart683.xml"/><Relationship Id="rId5" Type="http://schemas.openxmlformats.org/officeDocument/2006/relationships/chart" Target="../charts/chart682.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87.xml"/><Relationship Id="rId2" Type="http://schemas.openxmlformats.org/officeDocument/2006/relationships/slideLayout" Target="../slideLayouts/slideLayout7.xml"/><Relationship Id="rId1" Type="http://schemas.openxmlformats.org/officeDocument/2006/relationships/tags" Target="../tags/tag256.xml"/><Relationship Id="rId6" Type="http://schemas.openxmlformats.org/officeDocument/2006/relationships/chart" Target="../charts/chart686.xml"/><Relationship Id="rId5" Type="http://schemas.openxmlformats.org/officeDocument/2006/relationships/chart" Target="../charts/chart685.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0.xml"/><Relationship Id="rId2" Type="http://schemas.openxmlformats.org/officeDocument/2006/relationships/slideLayout" Target="../slideLayouts/slideLayout7.xml"/><Relationship Id="rId1" Type="http://schemas.openxmlformats.org/officeDocument/2006/relationships/tags" Target="../tags/tag257.xml"/><Relationship Id="rId6" Type="http://schemas.openxmlformats.org/officeDocument/2006/relationships/chart" Target="../charts/chart689.xml"/><Relationship Id="rId5" Type="http://schemas.openxmlformats.org/officeDocument/2006/relationships/chart" Target="../charts/chart688.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3.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chart" Target="../charts/chart692.xml"/><Relationship Id="rId5" Type="http://schemas.openxmlformats.org/officeDocument/2006/relationships/chart" Target="../charts/chart69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6.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chart" Target="../charts/chart695.xml"/><Relationship Id="rId5" Type="http://schemas.openxmlformats.org/officeDocument/2006/relationships/chart" Target="../charts/chart694.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9.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chart" Target="../charts/chart698.xml"/><Relationship Id="rId5" Type="http://schemas.openxmlformats.org/officeDocument/2006/relationships/chart" Target="../charts/chart697.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02.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chart" Target="../charts/chart701.xml"/><Relationship Id="rId5" Type="http://schemas.openxmlformats.org/officeDocument/2006/relationships/chart" Target="../charts/chart700.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05.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chart" Target="../charts/chart704.xml"/><Relationship Id="rId5" Type="http://schemas.openxmlformats.org/officeDocument/2006/relationships/chart" Target="../charts/chart703.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08.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chart" Target="../charts/chart707.xml"/><Relationship Id="rId5" Type="http://schemas.openxmlformats.org/officeDocument/2006/relationships/chart" Target="../charts/chart70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11.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chart" Target="../charts/chart710.xml"/><Relationship Id="rId5" Type="http://schemas.openxmlformats.org/officeDocument/2006/relationships/chart" Target="../charts/chart709.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14.xml"/><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chart" Target="../charts/chart713.xml"/><Relationship Id="rId5" Type="http://schemas.openxmlformats.org/officeDocument/2006/relationships/chart" Target="../charts/chart712.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17.xml"/><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chart" Target="../charts/chart716.xml"/><Relationship Id="rId5" Type="http://schemas.openxmlformats.org/officeDocument/2006/relationships/chart" Target="../charts/chart715.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0.xml"/><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chart" Target="../charts/chart719.xml"/><Relationship Id="rId5" Type="http://schemas.openxmlformats.org/officeDocument/2006/relationships/chart" Target="../charts/chart718.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3.xml"/><Relationship Id="rId2" Type="http://schemas.openxmlformats.org/officeDocument/2006/relationships/slideLayout" Target="../slideLayouts/slideLayout7.xml"/><Relationship Id="rId1" Type="http://schemas.openxmlformats.org/officeDocument/2006/relationships/tags" Target="../tags/tag268.xml"/><Relationship Id="rId6" Type="http://schemas.openxmlformats.org/officeDocument/2006/relationships/chart" Target="../charts/chart722.xml"/><Relationship Id="rId5" Type="http://schemas.openxmlformats.org/officeDocument/2006/relationships/chart" Target="../charts/chart72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6.xml"/><Relationship Id="rId2" Type="http://schemas.openxmlformats.org/officeDocument/2006/relationships/slideLayout" Target="../slideLayouts/slideLayout7.xml"/><Relationship Id="rId1" Type="http://schemas.openxmlformats.org/officeDocument/2006/relationships/tags" Target="../tags/tag269.xml"/><Relationship Id="rId6" Type="http://schemas.openxmlformats.org/officeDocument/2006/relationships/chart" Target="../charts/chart725.xml"/><Relationship Id="rId5" Type="http://schemas.openxmlformats.org/officeDocument/2006/relationships/chart" Target="../charts/chart724.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9.xml"/><Relationship Id="rId2" Type="http://schemas.openxmlformats.org/officeDocument/2006/relationships/slideLayout" Target="../slideLayouts/slideLayout7.xml"/><Relationship Id="rId1" Type="http://schemas.openxmlformats.org/officeDocument/2006/relationships/tags" Target="../tags/tag270.xml"/><Relationship Id="rId6" Type="http://schemas.openxmlformats.org/officeDocument/2006/relationships/chart" Target="../charts/chart728.xml"/><Relationship Id="rId5" Type="http://schemas.openxmlformats.org/officeDocument/2006/relationships/chart" Target="../charts/chart727.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32.xml"/><Relationship Id="rId2" Type="http://schemas.openxmlformats.org/officeDocument/2006/relationships/slideLayout" Target="../slideLayouts/slideLayout7.xml"/><Relationship Id="rId1" Type="http://schemas.openxmlformats.org/officeDocument/2006/relationships/tags" Target="../tags/tag271.xml"/><Relationship Id="rId6" Type="http://schemas.openxmlformats.org/officeDocument/2006/relationships/chart" Target="../charts/chart731.xml"/><Relationship Id="rId5" Type="http://schemas.openxmlformats.org/officeDocument/2006/relationships/chart" Target="../charts/chart730.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35.xml"/><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chart" Target="../charts/chart734.xml"/><Relationship Id="rId5" Type="http://schemas.openxmlformats.org/officeDocument/2006/relationships/chart" Target="../charts/chart733.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38.xml"/><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chart" Target="../charts/chart737.xml"/><Relationship Id="rId5" Type="http://schemas.openxmlformats.org/officeDocument/2006/relationships/chart" Target="../charts/chart73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41.xml"/><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chart" Target="../charts/chart740.xml"/><Relationship Id="rId5" Type="http://schemas.openxmlformats.org/officeDocument/2006/relationships/chart" Target="../charts/chart739.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44.xml"/><Relationship Id="rId2" Type="http://schemas.openxmlformats.org/officeDocument/2006/relationships/slideLayout" Target="../slideLayouts/slideLayout7.xml"/><Relationship Id="rId1" Type="http://schemas.openxmlformats.org/officeDocument/2006/relationships/tags" Target="../tags/tag275.xml"/><Relationship Id="rId6" Type="http://schemas.openxmlformats.org/officeDocument/2006/relationships/chart" Target="../charts/chart743.xml"/><Relationship Id="rId5" Type="http://schemas.openxmlformats.org/officeDocument/2006/relationships/chart" Target="../charts/chart742.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47.xml"/><Relationship Id="rId2" Type="http://schemas.openxmlformats.org/officeDocument/2006/relationships/slideLayout" Target="../slideLayouts/slideLayout7.xml"/><Relationship Id="rId1" Type="http://schemas.openxmlformats.org/officeDocument/2006/relationships/tags" Target="../tags/tag276.xml"/><Relationship Id="rId6" Type="http://schemas.openxmlformats.org/officeDocument/2006/relationships/chart" Target="../charts/chart746.xml"/><Relationship Id="rId5" Type="http://schemas.openxmlformats.org/officeDocument/2006/relationships/chart" Target="../charts/chart745.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0.xml"/><Relationship Id="rId2" Type="http://schemas.openxmlformats.org/officeDocument/2006/relationships/slideLayout" Target="../slideLayouts/slideLayout7.xml"/><Relationship Id="rId1" Type="http://schemas.openxmlformats.org/officeDocument/2006/relationships/tags" Target="../tags/tag277.xml"/><Relationship Id="rId6" Type="http://schemas.openxmlformats.org/officeDocument/2006/relationships/chart" Target="../charts/chart749.xml"/><Relationship Id="rId5" Type="http://schemas.openxmlformats.org/officeDocument/2006/relationships/chart" Target="../charts/chart748.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3.xml"/><Relationship Id="rId2" Type="http://schemas.openxmlformats.org/officeDocument/2006/relationships/slideLayout" Target="../slideLayouts/slideLayout7.xml"/><Relationship Id="rId1" Type="http://schemas.openxmlformats.org/officeDocument/2006/relationships/tags" Target="../tags/tag278.xml"/><Relationship Id="rId6" Type="http://schemas.openxmlformats.org/officeDocument/2006/relationships/chart" Target="../charts/chart752.xml"/><Relationship Id="rId5" Type="http://schemas.openxmlformats.org/officeDocument/2006/relationships/chart" Target="../charts/chart7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6.xml"/><Relationship Id="rId2" Type="http://schemas.openxmlformats.org/officeDocument/2006/relationships/slideLayout" Target="../slideLayouts/slideLayout7.xml"/><Relationship Id="rId1" Type="http://schemas.openxmlformats.org/officeDocument/2006/relationships/tags" Target="../tags/tag279.xml"/><Relationship Id="rId6" Type="http://schemas.openxmlformats.org/officeDocument/2006/relationships/chart" Target="../charts/chart755.xml"/><Relationship Id="rId5" Type="http://schemas.openxmlformats.org/officeDocument/2006/relationships/chart" Target="../charts/chart754.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9.xml"/><Relationship Id="rId2" Type="http://schemas.openxmlformats.org/officeDocument/2006/relationships/slideLayout" Target="../slideLayouts/slideLayout7.xml"/><Relationship Id="rId1" Type="http://schemas.openxmlformats.org/officeDocument/2006/relationships/tags" Target="../tags/tag280.xml"/><Relationship Id="rId6" Type="http://schemas.openxmlformats.org/officeDocument/2006/relationships/chart" Target="../charts/chart758.xml"/><Relationship Id="rId5" Type="http://schemas.openxmlformats.org/officeDocument/2006/relationships/chart" Target="../charts/chart757.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62.xml"/><Relationship Id="rId2" Type="http://schemas.openxmlformats.org/officeDocument/2006/relationships/slideLayout" Target="../slideLayouts/slideLayout7.xml"/><Relationship Id="rId1" Type="http://schemas.openxmlformats.org/officeDocument/2006/relationships/tags" Target="../tags/tag281.xml"/><Relationship Id="rId6" Type="http://schemas.openxmlformats.org/officeDocument/2006/relationships/chart" Target="../charts/chart761.xml"/><Relationship Id="rId5" Type="http://schemas.openxmlformats.org/officeDocument/2006/relationships/chart" Target="../charts/chart760.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65.xml"/><Relationship Id="rId2" Type="http://schemas.openxmlformats.org/officeDocument/2006/relationships/slideLayout" Target="../slideLayouts/slideLayout7.xml"/><Relationship Id="rId1" Type="http://schemas.openxmlformats.org/officeDocument/2006/relationships/tags" Target="../tags/tag282.xml"/><Relationship Id="rId6" Type="http://schemas.openxmlformats.org/officeDocument/2006/relationships/chart" Target="../charts/chart764.xml"/><Relationship Id="rId5" Type="http://schemas.openxmlformats.org/officeDocument/2006/relationships/chart" Target="../charts/chart763.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68.xml"/><Relationship Id="rId2" Type="http://schemas.openxmlformats.org/officeDocument/2006/relationships/slideLayout" Target="../slideLayouts/slideLayout7.xml"/><Relationship Id="rId1" Type="http://schemas.openxmlformats.org/officeDocument/2006/relationships/tags" Target="../tags/tag283.xml"/><Relationship Id="rId6" Type="http://schemas.openxmlformats.org/officeDocument/2006/relationships/chart" Target="../charts/chart767.xml"/><Relationship Id="rId5" Type="http://schemas.openxmlformats.org/officeDocument/2006/relationships/chart" Target="../charts/chart76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71.xml"/><Relationship Id="rId2" Type="http://schemas.openxmlformats.org/officeDocument/2006/relationships/slideLayout" Target="../slideLayouts/slideLayout7.xml"/><Relationship Id="rId1" Type="http://schemas.openxmlformats.org/officeDocument/2006/relationships/tags" Target="../tags/tag284.xml"/><Relationship Id="rId6" Type="http://schemas.openxmlformats.org/officeDocument/2006/relationships/chart" Target="../charts/chart770.xml"/><Relationship Id="rId5" Type="http://schemas.openxmlformats.org/officeDocument/2006/relationships/chart" Target="../charts/chart769.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74.xml"/><Relationship Id="rId2" Type="http://schemas.openxmlformats.org/officeDocument/2006/relationships/slideLayout" Target="../slideLayouts/slideLayout7.xml"/><Relationship Id="rId1" Type="http://schemas.openxmlformats.org/officeDocument/2006/relationships/tags" Target="../tags/tag285.xml"/><Relationship Id="rId6" Type="http://schemas.openxmlformats.org/officeDocument/2006/relationships/chart" Target="../charts/chart773.xml"/><Relationship Id="rId5" Type="http://schemas.openxmlformats.org/officeDocument/2006/relationships/chart" Target="../charts/chart772.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77.xml"/><Relationship Id="rId2" Type="http://schemas.openxmlformats.org/officeDocument/2006/relationships/slideLayout" Target="../slideLayouts/slideLayout7.xml"/><Relationship Id="rId1" Type="http://schemas.openxmlformats.org/officeDocument/2006/relationships/tags" Target="../tags/tag286.xml"/><Relationship Id="rId6" Type="http://schemas.openxmlformats.org/officeDocument/2006/relationships/chart" Target="../charts/chart776.xml"/><Relationship Id="rId5" Type="http://schemas.openxmlformats.org/officeDocument/2006/relationships/chart" Target="../charts/chart77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0.xml"/><Relationship Id="rId2" Type="http://schemas.openxmlformats.org/officeDocument/2006/relationships/slideLayout" Target="../slideLayouts/slideLayout7.xml"/><Relationship Id="rId1" Type="http://schemas.openxmlformats.org/officeDocument/2006/relationships/tags" Target="../tags/tag287.xml"/><Relationship Id="rId6" Type="http://schemas.openxmlformats.org/officeDocument/2006/relationships/chart" Target="../charts/chart779.xml"/><Relationship Id="rId5" Type="http://schemas.openxmlformats.org/officeDocument/2006/relationships/chart" Target="../charts/chart778.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3.xml"/><Relationship Id="rId2" Type="http://schemas.openxmlformats.org/officeDocument/2006/relationships/slideLayout" Target="../slideLayouts/slideLayout7.xml"/><Relationship Id="rId1" Type="http://schemas.openxmlformats.org/officeDocument/2006/relationships/tags" Target="../tags/tag288.xml"/><Relationship Id="rId6" Type="http://schemas.openxmlformats.org/officeDocument/2006/relationships/chart" Target="../charts/chart782.xml"/><Relationship Id="rId5" Type="http://schemas.openxmlformats.org/officeDocument/2006/relationships/chart" Target="../charts/chart78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6.xml"/><Relationship Id="rId2" Type="http://schemas.openxmlformats.org/officeDocument/2006/relationships/slideLayout" Target="../slideLayouts/slideLayout7.xml"/><Relationship Id="rId1" Type="http://schemas.openxmlformats.org/officeDocument/2006/relationships/tags" Target="../tags/tag289.xml"/><Relationship Id="rId6" Type="http://schemas.openxmlformats.org/officeDocument/2006/relationships/chart" Target="../charts/chart785.xml"/><Relationship Id="rId5" Type="http://schemas.openxmlformats.org/officeDocument/2006/relationships/chart" Target="../charts/chart784.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9.xml"/><Relationship Id="rId2" Type="http://schemas.openxmlformats.org/officeDocument/2006/relationships/slideLayout" Target="../slideLayouts/slideLayout7.xml"/><Relationship Id="rId1" Type="http://schemas.openxmlformats.org/officeDocument/2006/relationships/tags" Target="../tags/tag290.xml"/><Relationship Id="rId6" Type="http://schemas.openxmlformats.org/officeDocument/2006/relationships/chart" Target="../charts/chart788.xml"/><Relationship Id="rId5" Type="http://schemas.openxmlformats.org/officeDocument/2006/relationships/chart" Target="../charts/chart787.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92.xml"/><Relationship Id="rId2" Type="http://schemas.openxmlformats.org/officeDocument/2006/relationships/slideLayout" Target="../slideLayouts/slideLayout7.xml"/><Relationship Id="rId1" Type="http://schemas.openxmlformats.org/officeDocument/2006/relationships/tags" Target="../tags/tag291.xml"/><Relationship Id="rId6" Type="http://schemas.openxmlformats.org/officeDocument/2006/relationships/chart" Target="../charts/chart791.xml"/><Relationship Id="rId5" Type="http://schemas.openxmlformats.org/officeDocument/2006/relationships/chart" Target="../charts/chart790.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95.xml"/><Relationship Id="rId2" Type="http://schemas.openxmlformats.org/officeDocument/2006/relationships/slideLayout" Target="../slideLayouts/slideLayout7.xml"/><Relationship Id="rId1" Type="http://schemas.openxmlformats.org/officeDocument/2006/relationships/tags" Target="../tags/tag292.xml"/><Relationship Id="rId6" Type="http://schemas.openxmlformats.org/officeDocument/2006/relationships/chart" Target="../charts/chart794.xml"/><Relationship Id="rId5" Type="http://schemas.openxmlformats.org/officeDocument/2006/relationships/chart" Target="../charts/chart793.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98.xml"/><Relationship Id="rId2" Type="http://schemas.openxmlformats.org/officeDocument/2006/relationships/slideLayout" Target="../slideLayouts/slideLayout7.xml"/><Relationship Id="rId1" Type="http://schemas.openxmlformats.org/officeDocument/2006/relationships/tags" Target="../tags/tag293.xml"/><Relationship Id="rId6" Type="http://schemas.openxmlformats.org/officeDocument/2006/relationships/chart" Target="../charts/chart797.xml"/><Relationship Id="rId5" Type="http://schemas.openxmlformats.org/officeDocument/2006/relationships/chart" Target="../charts/chart79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01.xml"/><Relationship Id="rId2" Type="http://schemas.openxmlformats.org/officeDocument/2006/relationships/slideLayout" Target="../slideLayouts/slideLayout7.xml"/><Relationship Id="rId1" Type="http://schemas.openxmlformats.org/officeDocument/2006/relationships/tags" Target="../tags/tag294.xml"/><Relationship Id="rId6" Type="http://schemas.openxmlformats.org/officeDocument/2006/relationships/chart" Target="../charts/chart800.xml"/><Relationship Id="rId5" Type="http://schemas.openxmlformats.org/officeDocument/2006/relationships/chart" Target="../charts/chart799.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04.xml"/><Relationship Id="rId2" Type="http://schemas.openxmlformats.org/officeDocument/2006/relationships/slideLayout" Target="../slideLayouts/slideLayout7.xml"/><Relationship Id="rId1" Type="http://schemas.openxmlformats.org/officeDocument/2006/relationships/tags" Target="../tags/tag295.xml"/><Relationship Id="rId6" Type="http://schemas.openxmlformats.org/officeDocument/2006/relationships/chart" Target="../charts/chart803.xml"/><Relationship Id="rId5" Type="http://schemas.openxmlformats.org/officeDocument/2006/relationships/chart" Target="../charts/chart802.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07.xml"/><Relationship Id="rId2" Type="http://schemas.openxmlformats.org/officeDocument/2006/relationships/slideLayout" Target="../slideLayouts/slideLayout7.xml"/><Relationship Id="rId1" Type="http://schemas.openxmlformats.org/officeDocument/2006/relationships/tags" Target="../tags/tag296.xml"/><Relationship Id="rId6" Type="http://schemas.openxmlformats.org/officeDocument/2006/relationships/chart" Target="../charts/chart806.xml"/><Relationship Id="rId5" Type="http://schemas.openxmlformats.org/officeDocument/2006/relationships/chart" Target="../charts/chart805.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281.xml"/><Relationship Id="rId5" Type="http://schemas.openxmlformats.org/officeDocument/2006/relationships/chart" Target="../charts/chart28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287.xml"/><Relationship Id="rId5" Type="http://schemas.openxmlformats.org/officeDocument/2006/relationships/chart" Target="../charts/chart28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1.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290.xml"/><Relationship Id="rId5" Type="http://schemas.openxmlformats.org/officeDocument/2006/relationships/chart" Target="../charts/chart289.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293.xml"/><Relationship Id="rId5" Type="http://schemas.openxmlformats.org/officeDocument/2006/relationships/chart" Target="../charts/chart292.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7.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296.xml"/><Relationship Id="rId5" Type="http://schemas.openxmlformats.org/officeDocument/2006/relationships/chart" Target="../charts/chart29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016443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76401623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80937281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02715967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81390175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67069870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2865839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91647204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95936370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1608164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8182851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236288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1966038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76536213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9656274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89493273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65687258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40310121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96279985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1599018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2743386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7455681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179430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85362816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51533812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64085718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89143271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64716673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7986774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97988670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1146187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04095289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06092104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6754052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5616688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54862246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96870087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01112770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00128520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13357978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97234648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9190226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56556501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4284763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5167863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40634189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71485536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4506759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6466258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96143731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80569810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6621650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85809885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09167738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79176314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0901344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56821726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60452389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6596152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93041000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62432795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06209522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66776755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45013734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71155643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66138078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1473936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81839781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77027183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5809295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15601599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96102120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92995746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1736312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498198225"/>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9433633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178546861"/>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2787468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587158332"/>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79022571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9432311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54046985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84195639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57223934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58370000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05777217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31382517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0358757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4410342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0159681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81795938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77458180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38054839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79703376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2481638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514660060"/>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9363888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96391960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694554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8731822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37968124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85517646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40141365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64450677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0569076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21666814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83993404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63932942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25956824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91760072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1267283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9486242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68187882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08117762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58240179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220861812"/>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1803142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40668507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73615806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04737600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87710069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13827755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4190500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93802719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90031675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29245483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640527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607546888"/>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70463881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79898359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062336932"/>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27641867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990724071"/>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6721434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7770489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24207831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53047062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91511460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6487426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171879371"/>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336476854"/>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396729743"/>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59901494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87997951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3488036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9716260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94231568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9052123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35063938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89952051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864590152"/>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41927902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52506145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797555684"/>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625688540"/>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8351622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31382448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29787375"/>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03433372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704273938"/>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628457079"/>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5457561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816955782"/>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764695380"/>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076846499"/>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782005386"/>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9534593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28230050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59134535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75873548"/>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79085495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868082325"/>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703529187"/>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002125476"/>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986456243"/>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777977131"/>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4337662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2890024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68878052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19896517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326791700"/>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06043582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95592737"/>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975256664"/>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8970895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821390883"/>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404313347"/>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783891116"/>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8289793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3331874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80597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9141785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1378147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6033660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3082991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7191042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6136873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7511670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583119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385988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9288917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980564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2934327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5649336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693901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3877300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9290534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5040247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2338509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7319554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5013350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7708113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5426090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4855403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0011357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326067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2107654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33403178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903441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204221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091835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8062095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48358486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2354260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0040690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33847853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0769532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6735507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688916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773430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94226767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2020764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0009675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27902964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26869850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060083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5437303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23404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74841146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501778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84455380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55081863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39160159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26341496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83923451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4937646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9674491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91011260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84654215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9662239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2070028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76812815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39114664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75707811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05949631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5020153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43503690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196364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82678946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3874361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89622803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54593146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123415797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32737289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59355734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41142027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42347656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32266307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28/2025</a:t>
            </a:fld>
            <a:endParaRPr lang="en-US" sz="500"/>
          </a:p>
        </p:txBody>
      </p:sp>
    </p:spTree>
    <p:extLst>
      <p:ext uri="{BB962C8B-B14F-4D97-AF65-F5344CB8AC3E}">
        <p14:creationId xmlns:p14="http://schemas.microsoft.com/office/powerpoint/2010/main" val="2689812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23409</Words>
  <Application>Microsoft Office PowerPoint</Application>
  <PresentationFormat>On-screen Show (16:9)</PresentationFormat>
  <Paragraphs>8614</Paragraphs>
  <Slides>26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9</vt:i4>
      </vt:variant>
    </vt:vector>
  </HeadingPairs>
  <TitlesOfParts>
    <vt:vector size="278"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Salma ANANY</cp:lastModifiedBy>
  <cp:revision>76</cp:revision>
  <dcterms:created xsi:type="dcterms:W3CDTF">2024-07-05T11:30:58Z</dcterms:created>
  <dcterms:modified xsi:type="dcterms:W3CDTF">2025-08-28T09:4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